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8"/>
  </p:notesMasterIdLst>
  <p:handoutMasterIdLst>
    <p:handoutMasterId r:id="rId9"/>
  </p:handoutMasterIdLst>
  <p:sldIdLst>
    <p:sldId id="307" r:id="rId2"/>
    <p:sldId id="308" r:id="rId3"/>
    <p:sldId id="309" r:id="rId4"/>
    <p:sldId id="310" r:id="rId5"/>
    <p:sldId id="311" r:id="rId6"/>
    <p:sldId id="312" r:id="rId7"/>
  </p:sldIdLst>
  <p:sldSz cx="12192000" cy="6858000"/>
  <p:notesSz cx="6858000" cy="9144000"/>
  <p:custDataLst>
    <p:tags r:id="rId1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C9C9C"/>
    <a:srgbClr val="FF00FF"/>
    <a:srgbClr val="29485D"/>
    <a:srgbClr val="FF33CC"/>
    <a:srgbClr val="FF9900"/>
    <a:srgbClr val="005555"/>
    <a:srgbClr val="006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04" autoAdjust="0"/>
    <p:restoredTop sz="94249" autoAdjust="0"/>
  </p:normalViewPr>
  <p:slideViewPr>
    <p:cSldViewPr snapToGrid="0" snapToObjects="1" showGuides="1">
      <p:cViewPr varScale="1">
        <p:scale>
          <a:sx n="88" d="100"/>
          <a:sy n="88" d="100"/>
        </p:scale>
        <p:origin x="312" y="62"/>
      </p:cViewPr>
      <p:guideLst>
        <p:guide orient="horz" pos="41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9528"/>
    </p:cViewPr>
  </p:sorterViewPr>
  <p:notesViewPr>
    <p:cSldViewPr snapToGrid="0" snapToObjects="1">
      <p:cViewPr varScale="1">
        <p:scale>
          <a:sx n="99" d="100"/>
          <a:sy n="99" d="100"/>
        </p:scale>
        <p:origin x="2532" y="6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E2B36E-8DF3-40FB-A86F-0CDEABF16D13}" type="datetimeFigureOut">
              <a:rPr lang="en-US" smtClean="0"/>
              <a:t>12/15/2022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67AEE6-5A71-4E5F-89B4-382C2E000A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3162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B80376-9849-0641-980F-B64B5DF60C01}" type="datetimeFigureOut">
              <a:rPr lang="de-DE" smtClean="0"/>
              <a:t>15.12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9F2F47-17B9-B440-9B67-93B9C4BEB08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9625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6" name="Rechteck 5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699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1148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4297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877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4702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4701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5336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805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93434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285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9565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9419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6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9625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0395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8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5827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90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2097088"/>
            <a:ext cx="66421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4644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056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2097088"/>
            <a:ext cx="3037093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2097088"/>
            <a:ext cx="66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7567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659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55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67111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77593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 err="1"/>
              <a:t>Sixt</a:t>
            </a:r>
            <a:r>
              <a:rPr lang="en-US" dirty="0"/>
              <a:t>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4973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067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875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0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3634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1381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547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hell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29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6" name="Rechteck 5"/>
          <p:cNvSpPr/>
          <p:nvPr userDrawn="1"/>
        </p:nvSpPr>
        <p:spPr>
          <a:xfrm>
            <a:off x="7866434" y="499354"/>
            <a:ext cx="3800272" cy="1180290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402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7892374" y="538264"/>
            <a:ext cx="4105073" cy="132296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4462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 userDrawn="1">
          <p15:clr>
            <a:srgbClr val="FBAE40"/>
          </p15:clr>
        </p15:guide>
        <p15:guide id="2" orient="horz" pos="1408" userDrawn="1">
          <p15:clr>
            <a:srgbClr val="FBAE40"/>
          </p15:clr>
        </p15:guide>
        <p15:guide id="3" orient="horz" pos="1792" userDrawn="1">
          <p15:clr>
            <a:srgbClr val="FBAE40"/>
          </p15:clr>
        </p15:guide>
        <p15:guide id="4" orient="horz" pos="1918" userDrawn="1">
          <p15:clr>
            <a:srgbClr val="FBAE40"/>
          </p15:clr>
        </p15:guide>
        <p15:guide id="5" orient="horz" pos="2046" userDrawn="1">
          <p15:clr>
            <a:srgbClr val="FBAE40"/>
          </p15:clr>
        </p15:guide>
        <p15:guide id="6" orient="horz" pos="2176" userDrawn="1">
          <p15:clr>
            <a:srgbClr val="FBAE40"/>
          </p15:clr>
        </p15:guide>
        <p15:guide id="7" orient="horz" pos="2302" userDrawn="1">
          <p15:clr>
            <a:srgbClr val="FBAE40"/>
          </p15:clr>
        </p15:guide>
        <p15:guide id="8" orient="horz" pos="2432" userDrawn="1">
          <p15:clr>
            <a:srgbClr val="FBAE40"/>
          </p15:clr>
        </p15:guide>
        <p15:guide id="9" orient="horz" pos="2546" userDrawn="1">
          <p15:clr>
            <a:srgbClr val="FBAE40"/>
          </p15:clr>
        </p15:guide>
        <p15:guide id="10" orient="horz" pos="2688" userDrawn="1">
          <p15:clr>
            <a:srgbClr val="FBAE40"/>
          </p15:clr>
        </p15:guide>
        <p15:guide id="11" orient="horz" pos="2818" userDrawn="1">
          <p15:clr>
            <a:srgbClr val="FBAE40"/>
          </p15:clr>
        </p15:guide>
        <p15:guide id="12" orient="horz" pos="2944" userDrawn="1">
          <p15:clr>
            <a:srgbClr val="FBAE40"/>
          </p15:clr>
        </p15:guide>
        <p15:guide id="13" orient="horz" pos="3074" userDrawn="1">
          <p15:clr>
            <a:srgbClr val="FBAE40"/>
          </p15:clr>
        </p15:guide>
        <p15:guide id="14" orient="horz" pos="3202" userDrawn="1">
          <p15:clr>
            <a:srgbClr val="FBAE40"/>
          </p15:clr>
        </p15:guide>
        <p15:guide id="15" orient="horz" pos="3339" userDrawn="1">
          <p15:clr>
            <a:srgbClr val="FBAE40"/>
          </p15:clr>
        </p15:guide>
        <p15:guide id="16" orient="horz" pos="3456" userDrawn="1">
          <p15:clr>
            <a:srgbClr val="FBAE40"/>
          </p15:clr>
        </p15:guide>
        <p15:guide id="17" orient="horz" pos="3584" userDrawn="1">
          <p15:clr>
            <a:srgbClr val="FBAE40"/>
          </p15:clr>
        </p15:guide>
        <p15:guide id="18" orient="horz" pos="3710" userDrawn="1">
          <p15:clr>
            <a:srgbClr val="FBAE40"/>
          </p15:clr>
        </p15:guide>
        <p15:guide id="19" orient="horz" pos="3838" userDrawn="1">
          <p15:clr>
            <a:srgbClr val="FBAE40"/>
          </p15:clr>
        </p15:guide>
        <p15:guide id="20" orient="horz" pos="3970" userDrawn="1">
          <p15:clr>
            <a:srgbClr val="FBAE40"/>
          </p15:clr>
        </p15:guide>
        <p15:guide id="21" pos="7162" userDrawn="1">
          <p15:clr>
            <a:srgbClr val="FBAE40"/>
          </p15:clr>
        </p15:guide>
        <p15:guide id="22" pos="5626" userDrawn="1">
          <p15:clr>
            <a:srgbClr val="FBAE40"/>
          </p15:clr>
        </p15:guide>
        <p15:guide id="23" pos="5500" userDrawn="1">
          <p15:clr>
            <a:srgbClr val="FBAE40"/>
          </p15:clr>
        </p15:guide>
        <p15:guide id="24" pos="5372" userDrawn="1">
          <p15:clr>
            <a:srgbClr val="FBAE40"/>
          </p15:clr>
        </p15:guide>
        <p15:guide id="25" pos="5246" userDrawn="1">
          <p15:clr>
            <a:srgbClr val="FBAE40"/>
          </p15:clr>
        </p15:guide>
        <p15:guide id="26" pos="5116" userDrawn="1">
          <p15:clr>
            <a:srgbClr val="FBAE40"/>
          </p15:clr>
        </p15:guide>
        <p15:guide id="27" pos="4988" userDrawn="1">
          <p15:clr>
            <a:srgbClr val="FBAE40"/>
          </p15:clr>
        </p15:guide>
        <p15:guide id="28" pos="4860" userDrawn="1">
          <p15:clr>
            <a:srgbClr val="FBAE40"/>
          </p15:clr>
        </p15:guide>
        <p15:guide id="29" pos="4732" userDrawn="1">
          <p15:clr>
            <a:srgbClr val="FBAE40"/>
          </p15:clr>
        </p15:guide>
        <p15:guide id="30" pos="4602" userDrawn="1">
          <p15:clr>
            <a:srgbClr val="FBAE40"/>
          </p15:clr>
        </p15:guide>
        <p15:guide id="31" pos="4476" userDrawn="1">
          <p15:clr>
            <a:srgbClr val="FBAE40"/>
          </p15:clr>
        </p15:guide>
        <p15:guide id="32" pos="4348" userDrawn="1">
          <p15:clr>
            <a:srgbClr val="FBAE40"/>
          </p15:clr>
        </p15:guide>
        <p15:guide id="33" pos="4220" userDrawn="1">
          <p15:clr>
            <a:srgbClr val="FBAE40"/>
          </p15:clr>
        </p15:guide>
        <p15:guide id="34" pos="4094" userDrawn="1">
          <p15:clr>
            <a:srgbClr val="FBAE40"/>
          </p15:clr>
        </p15:guide>
        <p15:guide id="35" pos="3966" userDrawn="1">
          <p15:clr>
            <a:srgbClr val="FBAE40"/>
          </p15:clr>
        </p15:guide>
        <p15:guide id="36" pos="3838" userDrawn="1">
          <p15:clr>
            <a:srgbClr val="FBAE40"/>
          </p15:clr>
        </p15:guide>
        <p15:guide id="37" pos="3708" userDrawn="1">
          <p15:clr>
            <a:srgbClr val="FBAE40"/>
          </p15:clr>
        </p15:guide>
        <p15:guide id="38" pos="3580" userDrawn="1">
          <p15:clr>
            <a:srgbClr val="FBAE40"/>
          </p15:clr>
        </p15:guide>
        <p15:guide id="39" pos="3452" userDrawn="1">
          <p15:clr>
            <a:srgbClr val="FBAE40"/>
          </p15:clr>
        </p15:guide>
        <p15:guide id="40" pos="3324" userDrawn="1">
          <p15:clr>
            <a:srgbClr val="FBAE40"/>
          </p15:clr>
        </p15:guide>
        <p15:guide id="41" pos="3196" userDrawn="1">
          <p15:clr>
            <a:srgbClr val="FBAE40"/>
          </p15:clr>
        </p15:guide>
        <p15:guide id="42" pos="3068" userDrawn="1">
          <p15:clr>
            <a:srgbClr val="FBAE40"/>
          </p15:clr>
        </p15:guide>
        <p15:guide id="43" pos="2940" userDrawn="1">
          <p15:clr>
            <a:srgbClr val="FBAE40"/>
          </p15:clr>
        </p15:guide>
        <p15:guide id="44" pos="2812" userDrawn="1">
          <p15:clr>
            <a:srgbClr val="FBAE40"/>
          </p15:clr>
        </p15:guide>
        <p15:guide id="45" pos="2686" userDrawn="1">
          <p15:clr>
            <a:srgbClr val="FBAE40"/>
          </p15:clr>
        </p15:guide>
        <p15:guide id="46" pos="2556" userDrawn="1">
          <p15:clr>
            <a:srgbClr val="FBAE40"/>
          </p15:clr>
        </p15:guide>
        <p15:guide id="47" pos="2430" userDrawn="1">
          <p15:clr>
            <a:srgbClr val="FBAE40"/>
          </p15:clr>
        </p15:guide>
        <p15:guide id="48" pos="2302" userDrawn="1">
          <p15:clr>
            <a:srgbClr val="FBAE40"/>
          </p15:clr>
        </p15:guide>
        <p15:guide id="49" pos="217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91864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Thomas Selle | 16.05.2022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787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8331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| Thomas Selle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5146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949532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7" name="think-cell Folie" r:id="rId28" imgW="384" imgH="385" progId="TCLayout.ActiveDocument.1">
                  <p:embed/>
                </p:oleObj>
              </mc:Choice>
              <mc:Fallback>
                <p:oleObj name="think-cell Folie" r:id="rId28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| Thomas Sell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719" t="2803" b="1184"/>
          <a:stretch/>
        </p:blipFill>
        <p:spPr>
          <a:xfrm>
            <a:off x="10448450" y="84700"/>
            <a:ext cx="1654485" cy="810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465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5" r:id="rId2"/>
    <p:sldLayoutId id="2147483676" r:id="rId3"/>
    <p:sldLayoutId id="2147483674" r:id="rId4"/>
    <p:sldLayoutId id="2147483677" r:id="rId5"/>
    <p:sldLayoutId id="2147483678" r:id="rId6"/>
    <p:sldLayoutId id="2147483695" r:id="rId7"/>
    <p:sldLayoutId id="2147483697" r:id="rId8"/>
    <p:sldLayoutId id="2147483662" r:id="rId9"/>
    <p:sldLayoutId id="2147483669" r:id="rId10"/>
    <p:sldLayoutId id="2147483664" r:id="rId11"/>
    <p:sldLayoutId id="2147483668" r:id="rId12"/>
    <p:sldLayoutId id="2147483698" r:id="rId13"/>
    <p:sldLayoutId id="2147483671" r:id="rId14"/>
    <p:sldLayoutId id="2147483699" r:id="rId15"/>
    <p:sldLayoutId id="2147483692" r:id="rId16"/>
    <p:sldLayoutId id="2147483672" r:id="rId17"/>
    <p:sldLayoutId id="2147483673" r:id="rId18"/>
    <p:sldLayoutId id="2147483694" r:id="rId19"/>
    <p:sldLayoutId id="2147483696" r:id="rId20"/>
    <p:sldLayoutId id="2147483667" r:id="rId21"/>
    <p:sldLayoutId id="2147483700" r:id="rId22"/>
    <p:sldLayoutId id="2147483663" r:id="rId2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97" userDrawn="1">
          <p15:clr>
            <a:srgbClr val="F26B43"/>
          </p15:clr>
        </p15:guide>
        <p15:guide id="2" orient="horz" pos="1321" userDrawn="1">
          <p15:clr>
            <a:srgbClr val="F26B43"/>
          </p15:clr>
        </p15:guide>
        <p15:guide id="3" pos="7083" userDrawn="1">
          <p15:clr>
            <a:srgbClr val="F26B43"/>
          </p15:clr>
        </p15:guide>
        <p15:guide id="4" orient="horz" pos="4042" userDrawn="1">
          <p15:clr>
            <a:srgbClr val="F26B43"/>
          </p15:clr>
        </p15:guide>
        <p15:guide id="5" pos="483" userDrawn="1">
          <p15:clr>
            <a:srgbClr val="F26B43"/>
          </p15:clr>
        </p15:guide>
        <p15:guide id="6" orient="horz" pos="436" userDrawn="1">
          <p15:clr>
            <a:srgbClr val="F26B43"/>
          </p15:clr>
        </p15:guide>
        <p15:guide id="7" orient="horz" pos="4065" userDrawn="1">
          <p15:clr>
            <a:srgbClr val="F26B43"/>
          </p15:clr>
        </p15:guide>
        <p15:guide id="8" orient="horz" pos="4178" userDrawn="1">
          <p15:clr>
            <a:srgbClr val="F26B43"/>
          </p15:clr>
        </p15:guide>
        <p15:guide id="9" pos="166" userDrawn="1">
          <p15:clr>
            <a:srgbClr val="F26B43"/>
          </p15:clr>
        </p15:guide>
        <p15:guide id="10" pos="751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804864" y="1663027"/>
            <a:ext cx="7785710" cy="343683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sz="2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NG </a:t>
            </a:r>
            <a:r>
              <a:rPr lang="de-DE" sz="20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ull</a:t>
            </a:r>
            <a:r>
              <a:rPr lang="de-DE" sz="2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20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mera</a:t>
            </a:r>
            <a:r>
              <a:rPr lang="de-DE" sz="2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20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st</a:t>
            </a:r>
            <a:r>
              <a:rPr lang="de-DE" sz="2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20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tup</a:t>
            </a:r>
            <a:endParaRPr lang="de-DE" sz="2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ts val="2300"/>
              </a:lnSpc>
              <a:spcBef>
                <a:spcPts val="1150"/>
              </a:spcBef>
            </a:pPr>
            <a:endParaRPr lang="de-DE" sz="20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742950" lvl="1" indent="-285750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§"/>
            </a:pP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as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ne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in a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acuum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amber</a:t>
            </a:r>
            <a:endParaRPr lang="de-DE" sz="16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742950" lvl="1" indent="-285750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§"/>
            </a:pP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alysis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utgasing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oad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f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ssible</a:t>
            </a:r>
            <a:endParaRPr lang="de-DE" sz="16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742950" lvl="1" indent="-285750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§"/>
            </a:pP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ol down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t least ~ +15°C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rame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-20°C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nCCD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ith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TEC</a:t>
            </a:r>
          </a:p>
          <a:p>
            <a:pPr marL="742950" lvl="1" indent="-285750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§"/>
            </a:pP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pectroscopic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asurement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ith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Fe-55</a:t>
            </a:r>
          </a:p>
          <a:p>
            <a:pPr marL="742950" lvl="1" indent="-285750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§"/>
            </a:pP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ynamic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nge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asurements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ith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ser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ode</a:t>
            </a:r>
            <a:endParaRPr lang="de-DE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l">
              <a:lnSpc>
                <a:spcPts val="2300"/>
              </a:lnSpc>
              <a:spcBef>
                <a:spcPts val="1150"/>
              </a:spcBef>
            </a:pPr>
            <a:endParaRPr lang="de-DE" sz="1600" b="1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9115" y="327005"/>
            <a:ext cx="10161346" cy="799342"/>
          </a:xfrm>
        </p:spPr>
        <p:txBody>
          <a:bodyPr/>
          <a:lstStyle/>
          <a:p>
            <a:pPr algn="ctr"/>
            <a:r>
              <a:rPr lang="de-DE" sz="3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NG – </a:t>
            </a:r>
            <a:r>
              <a:rPr lang="de-DE" sz="3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mera</a:t>
            </a:r>
            <a:r>
              <a:rPr lang="de-DE" sz="3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3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st</a:t>
            </a:r>
            <a:r>
              <a:rPr lang="de-DE" sz="3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3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tup</a:t>
            </a:r>
            <a:endParaRPr lang="en-GB" sz="1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Thomas Selle| </a:t>
            </a:r>
            <a:r>
              <a:rPr lang="de-DE" dirty="0" err="1" smtClean="0"/>
              <a:t>Ringberg</a:t>
            </a:r>
            <a:r>
              <a:rPr lang="de-DE" dirty="0" smtClean="0"/>
              <a:t> 2022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</a:t>
            </a:fld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78308" y="1991267"/>
            <a:ext cx="795740" cy="1165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785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9115" y="327005"/>
            <a:ext cx="10161346" cy="799342"/>
          </a:xfrm>
        </p:spPr>
        <p:txBody>
          <a:bodyPr/>
          <a:lstStyle/>
          <a:p>
            <a:pPr algn="ctr"/>
            <a:r>
              <a:rPr lang="de-DE" sz="3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NG – </a:t>
            </a:r>
            <a:r>
              <a:rPr lang="de-DE" sz="3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mera</a:t>
            </a:r>
            <a:r>
              <a:rPr lang="de-DE" sz="3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3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st</a:t>
            </a:r>
            <a:r>
              <a:rPr lang="de-DE" sz="3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3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tup</a:t>
            </a:r>
            <a:r>
              <a:rPr lang="de-DE" sz="3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de-DE" sz="3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de-DE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de-DE" sz="20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acuum</a:t>
            </a:r>
            <a:r>
              <a:rPr lang="de-DE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20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amber</a:t>
            </a:r>
            <a:r>
              <a:rPr lang="de-DE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– </a:t>
            </a:r>
            <a:r>
              <a:rPr lang="de-DE" sz="20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e</a:t>
            </a:r>
            <a:r>
              <a:rPr lang="de-DE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20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</a:t>
            </a:r>
            <a:r>
              <a:rPr lang="de-DE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LAMP </a:t>
            </a:r>
            <a:r>
              <a:rPr lang="de-DE" sz="20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amber</a:t>
            </a:r>
            <a:r>
              <a:rPr lang="de-DE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en-GB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Thomas Selle| </a:t>
            </a:r>
            <a:r>
              <a:rPr lang="de-DE" dirty="0" err="1" smtClean="0"/>
              <a:t>Ringberg</a:t>
            </a:r>
            <a:r>
              <a:rPr lang="de-DE" dirty="0" smtClean="0"/>
              <a:t> 2022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2</a:t>
            </a:fld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78308" y="1991267"/>
            <a:ext cx="795740" cy="1165759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9115" y="1126347"/>
            <a:ext cx="5504048" cy="4331686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44972" y="1126347"/>
            <a:ext cx="5251254" cy="3503337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48362" y="4548187"/>
            <a:ext cx="3209925" cy="2238375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418791" y="5649220"/>
            <a:ext cx="5344696" cy="74379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 smtClean="0"/>
              <a:t>In </a:t>
            </a:r>
            <a:r>
              <a:rPr lang="de-DE" sz="1600" dirty="0" err="1" smtClean="0"/>
              <a:t>this</a:t>
            </a:r>
            <a:r>
              <a:rPr lang="de-DE" sz="1600" dirty="0" smtClean="0"/>
              <a:t> </a:t>
            </a:r>
            <a:r>
              <a:rPr lang="de-DE" sz="1600" dirty="0" err="1" smtClean="0"/>
              <a:t>chamber</a:t>
            </a:r>
            <a:r>
              <a:rPr lang="de-DE" sz="1600" dirty="0" smtClean="0"/>
              <a:t> </a:t>
            </a:r>
            <a:r>
              <a:rPr lang="de-DE" sz="1600" dirty="0" err="1" smtClean="0"/>
              <a:t>we</a:t>
            </a:r>
            <a:r>
              <a:rPr lang="de-DE" sz="1600" dirty="0" smtClean="0"/>
              <a:t> </a:t>
            </a:r>
            <a:r>
              <a:rPr lang="de-DE" sz="1600" dirty="0" err="1" smtClean="0"/>
              <a:t>have</a:t>
            </a:r>
            <a:r>
              <a:rPr lang="de-DE" sz="1600" dirty="0" smtClean="0"/>
              <a:t> a </a:t>
            </a:r>
            <a:r>
              <a:rPr lang="de-DE" sz="1600" dirty="0" err="1" smtClean="0"/>
              <a:t>lot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space</a:t>
            </a:r>
            <a:r>
              <a:rPr lang="de-DE" sz="1600" dirty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most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endParaRPr lang="de-DE" sz="1600" dirty="0" smtClean="0"/>
          </a:p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 err="1"/>
              <a:t>e</a:t>
            </a:r>
            <a:r>
              <a:rPr lang="de-DE" sz="1600" dirty="0" err="1" smtClean="0"/>
              <a:t>quipment</a:t>
            </a:r>
            <a:r>
              <a:rPr lang="de-DE" sz="1600" dirty="0" smtClean="0"/>
              <a:t> </a:t>
            </a:r>
            <a:r>
              <a:rPr lang="de-DE" sz="1600" dirty="0" err="1" smtClean="0"/>
              <a:t>we</a:t>
            </a:r>
            <a:r>
              <a:rPr lang="de-DE" sz="1600" dirty="0" smtClean="0"/>
              <a:t> </a:t>
            </a:r>
            <a:r>
              <a:rPr lang="de-DE" sz="1600" dirty="0" err="1" smtClean="0"/>
              <a:t>need</a:t>
            </a:r>
            <a:r>
              <a:rPr lang="de-DE" sz="1600" dirty="0" smtClean="0"/>
              <a:t> </a:t>
            </a:r>
            <a:r>
              <a:rPr lang="de-DE" sz="1600" dirty="0" err="1" smtClean="0"/>
              <a:t>is</a:t>
            </a:r>
            <a:r>
              <a:rPr lang="de-DE" sz="1600" dirty="0" smtClean="0"/>
              <a:t> </a:t>
            </a:r>
            <a:r>
              <a:rPr lang="de-DE" sz="1600" dirty="0" err="1" smtClean="0"/>
              <a:t>available</a:t>
            </a:r>
            <a:r>
              <a:rPr lang="de-DE" sz="1600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29494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9115" y="327005"/>
            <a:ext cx="10161346" cy="799342"/>
          </a:xfrm>
        </p:spPr>
        <p:txBody>
          <a:bodyPr/>
          <a:lstStyle/>
          <a:p>
            <a:pPr algn="ctr"/>
            <a:r>
              <a:rPr lang="de-DE" sz="3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NG – </a:t>
            </a:r>
            <a:r>
              <a:rPr lang="de-DE" sz="3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mera</a:t>
            </a:r>
            <a:r>
              <a:rPr lang="de-DE" sz="3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3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st</a:t>
            </a:r>
            <a:r>
              <a:rPr lang="de-DE" sz="3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3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tup</a:t>
            </a:r>
            <a:r>
              <a:rPr lang="de-DE" sz="3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de-DE" sz="3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de-DE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de-DE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alysis </a:t>
            </a:r>
            <a:r>
              <a:rPr lang="de-DE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</a:t>
            </a:r>
            <a:r>
              <a:rPr lang="de-DE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utgasing</a:t>
            </a:r>
            <a:r>
              <a:rPr lang="de-DE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oad</a:t>
            </a:r>
            <a:r>
              <a:rPr lang="de-DE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f</a:t>
            </a:r>
            <a:r>
              <a:rPr lang="de-DE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20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ssible</a:t>
            </a:r>
            <a:r>
              <a:rPr lang="de-DE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en-GB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Thomas Selle| </a:t>
            </a:r>
            <a:r>
              <a:rPr lang="de-DE" dirty="0" err="1" smtClean="0"/>
              <a:t>Ringberg</a:t>
            </a:r>
            <a:r>
              <a:rPr lang="de-DE" dirty="0" smtClean="0"/>
              <a:t> 2022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3</a:t>
            </a:fld>
            <a:endParaRPr lang="de-DE" dirty="0"/>
          </a:p>
        </p:txBody>
      </p:sp>
      <p:pic>
        <p:nvPicPr>
          <p:cNvPr id="10" name="Picture 3" descr="D:\Selle\DATA_Desktop\PlanungFSP\Vacuum_feed_through\AlflangeVSgluedPCB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5220" y="2763225"/>
            <a:ext cx="5285528" cy="3689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feld 11"/>
          <p:cNvSpPr txBox="1"/>
          <p:nvPr/>
        </p:nvSpPr>
        <p:spPr>
          <a:xfrm>
            <a:off x="1044554" y="2566500"/>
            <a:ext cx="520905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xample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ith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lued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CB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ith</a:t>
            </a:r>
            <a:r>
              <a:rPr lang="de-DE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3M Scotch-WeldDP490 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endParaRPr lang="de-DE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acuum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eakage</a:t>
            </a:r>
            <a:r>
              <a:rPr lang="de-DE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rate 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1.5*10</a:t>
            </a:r>
            <a:r>
              <a:rPr lang="de-DE" sz="1600" baseline="30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6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bar*l/s</a:t>
            </a:r>
            <a:endParaRPr lang="de-DE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0431" y="3754498"/>
            <a:ext cx="3180563" cy="2119050"/>
          </a:xfrm>
          <a:prstGeom prst="rect">
            <a:avLst/>
          </a:prstGeom>
        </p:spPr>
      </p:pic>
      <p:sp>
        <p:nvSpPr>
          <p:cNvPr id="4" name="Textfeld 3"/>
          <p:cNvSpPr txBox="1"/>
          <p:nvPr/>
        </p:nvSpPr>
        <p:spPr>
          <a:xfrm>
            <a:off x="339115" y="1396955"/>
            <a:ext cx="11139523" cy="58990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FSP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implified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utgasing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st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was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ump down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ystem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ith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ithout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ponents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an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los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alves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umps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The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is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acuum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s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onitored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ver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om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ys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peated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1204842" y="6053298"/>
            <a:ext cx="4357924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mall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st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amber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will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ed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VIC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st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).</a:t>
            </a:r>
          </a:p>
        </p:txBody>
      </p:sp>
    </p:spTree>
    <p:extLst>
      <p:ext uri="{BB962C8B-B14F-4D97-AF65-F5344CB8AC3E}">
        <p14:creationId xmlns:p14="http://schemas.microsoft.com/office/powerpoint/2010/main" val="1986342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9115" y="327005"/>
            <a:ext cx="10161346" cy="799342"/>
          </a:xfrm>
        </p:spPr>
        <p:txBody>
          <a:bodyPr/>
          <a:lstStyle/>
          <a:p>
            <a:pPr algn="ctr"/>
            <a:r>
              <a:rPr lang="de-DE" sz="3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NG – </a:t>
            </a:r>
            <a:r>
              <a:rPr lang="de-DE" sz="3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mera</a:t>
            </a:r>
            <a:r>
              <a:rPr lang="de-DE" sz="3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3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st</a:t>
            </a:r>
            <a:r>
              <a:rPr lang="de-DE" sz="3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3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tup</a:t>
            </a:r>
            <a:r>
              <a:rPr lang="de-DE" sz="3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de-DE" sz="3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de-DE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de-DE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oled</a:t>
            </a:r>
            <a:r>
              <a:rPr lang="de-DE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wn </a:t>
            </a:r>
            <a:r>
              <a:rPr lang="de-DE" sz="20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st</a:t>
            </a:r>
            <a:r>
              <a:rPr lang="de-DE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en-GB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Thomas Selle| </a:t>
            </a:r>
            <a:r>
              <a:rPr lang="de-DE" dirty="0" err="1" smtClean="0"/>
              <a:t>Ringberg</a:t>
            </a:r>
            <a:r>
              <a:rPr lang="de-DE" dirty="0" smtClean="0"/>
              <a:t> 2022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4</a:t>
            </a:fld>
            <a:endParaRPr lang="de-DE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38286" y="2755106"/>
            <a:ext cx="4027247" cy="3169443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864" y="2755106"/>
            <a:ext cx="4225924" cy="3169443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771525" y="1571625"/>
            <a:ext cx="10820400" cy="58990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dirty="0" err="1" smtClean="0"/>
              <a:t>Cooling</a:t>
            </a:r>
            <a:r>
              <a:rPr lang="de-DE" sz="1600" dirty="0" smtClean="0"/>
              <a:t> </a:t>
            </a:r>
            <a:r>
              <a:rPr lang="de-DE" sz="1600" dirty="0" err="1" smtClean="0"/>
              <a:t>can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done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water</a:t>
            </a:r>
            <a:r>
              <a:rPr lang="de-DE" sz="1600" dirty="0" smtClean="0"/>
              <a:t> </a:t>
            </a:r>
            <a:r>
              <a:rPr lang="de-DE" sz="1600" dirty="0" err="1" smtClean="0"/>
              <a:t>cooling</a:t>
            </a:r>
            <a:r>
              <a:rPr lang="de-DE" sz="1600" dirty="0" smtClean="0"/>
              <a:t> </a:t>
            </a:r>
            <a:r>
              <a:rPr lang="de-DE" sz="1600" dirty="0" err="1" smtClean="0"/>
              <a:t>or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a </a:t>
            </a:r>
            <a:r>
              <a:rPr lang="de-DE" sz="1600" dirty="0" err="1" smtClean="0"/>
              <a:t>stirling</a:t>
            </a:r>
            <a:r>
              <a:rPr lang="de-DE" sz="1600" dirty="0" smtClean="0"/>
              <a:t> cooler.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water</a:t>
            </a:r>
            <a:r>
              <a:rPr lang="de-DE" sz="1600" dirty="0" smtClean="0"/>
              <a:t> </a:t>
            </a:r>
            <a:r>
              <a:rPr lang="de-DE" sz="1600" dirty="0" err="1" smtClean="0"/>
              <a:t>cooling</a:t>
            </a:r>
            <a:r>
              <a:rPr lang="de-DE" sz="1600" dirty="0" smtClean="0"/>
              <a:t> a </a:t>
            </a:r>
            <a:r>
              <a:rPr lang="de-DE" sz="1600" dirty="0" err="1" smtClean="0"/>
              <a:t>feed</a:t>
            </a:r>
            <a:r>
              <a:rPr lang="de-DE" sz="1600" dirty="0" smtClean="0"/>
              <a:t> </a:t>
            </a:r>
            <a:r>
              <a:rPr lang="de-DE" sz="1600" dirty="0" err="1" smtClean="0"/>
              <a:t>through</a:t>
            </a:r>
            <a:r>
              <a:rPr lang="de-DE" sz="1600" dirty="0" smtClean="0"/>
              <a:t> </a:t>
            </a:r>
            <a:r>
              <a:rPr lang="de-DE" sz="1600" dirty="0" err="1" smtClean="0"/>
              <a:t>flange</a:t>
            </a:r>
            <a:r>
              <a:rPr lang="de-DE" sz="1600" dirty="0" smtClean="0"/>
              <a:t> </a:t>
            </a:r>
            <a:r>
              <a:rPr lang="de-DE" sz="1600" dirty="0" err="1" smtClean="0"/>
              <a:t>ha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ordered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stirling</a:t>
            </a:r>
            <a:r>
              <a:rPr lang="de-DE" sz="1600" dirty="0" smtClean="0"/>
              <a:t> </a:t>
            </a:r>
            <a:r>
              <a:rPr lang="de-DE" sz="1600" dirty="0" err="1" smtClean="0"/>
              <a:t>cooling</a:t>
            </a:r>
            <a:r>
              <a:rPr lang="de-DE" sz="1600" dirty="0" smtClean="0"/>
              <a:t> </a:t>
            </a:r>
            <a:r>
              <a:rPr lang="de-DE" sz="1600" dirty="0" err="1" smtClean="0"/>
              <a:t>some</a:t>
            </a:r>
            <a:r>
              <a:rPr lang="de-DE" sz="1600" dirty="0" smtClean="0"/>
              <a:t> </a:t>
            </a:r>
            <a:r>
              <a:rPr lang="de-DE" sz="1600" dirty="0" err="1" smtClean="0"/>
              <a:t>kind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connection</a:t>
            </a:r>
            <a:r>
              <a:rPr lang="de-DE" sz="1600" dirty="0" smtClean="0"/>
              <a:t> </a:t>
            </a:r>
            <a:r>
              <a:rPr lang="de-DE" sz="1600" dirty="0" err="1" smtClean="0"/>
              <a:t>has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designed</a:t>
            </a:r>
            <a:r>
              <a:rPr lang="de-DE" sz="1600" dirty="0" smtClean="0"/>
              <a:t> (</a:t>
            </a:r>
            <a:r>
              <a:rPr lang="de-DE" sz="1600" dirty="0" err="1" smtClean="0"/>
              <a:t>e.g</a:t>
            </a:r>
            <a:r>
              <a:rPr lang="de-DE" sz="1600" dirty="0" smtClean="0"/>
              <a:t> </a:t>
            </a:r>
            <a:r>
              <a:rPr lang="de-DE" sz="1600" dirty="0" err="1" smtClean="0"/>
              <a:t>copper</a:t>
            </a:r>
            <a:r>
              <a:rPr lang="de-DE" sz="1600" dirty="0" smtClean="0"/>
              <a:t> </a:t>
            </a:r>
            <a:r>
              <a:rPr lang="de-DE" sz="1600" dirty="0" err="1" smtClean="0"/>
              <a:t>cables</a:t>
            </a:r>
            <a:r>
              <a:rPr lang="de-DE" sz="1600" dirty="0" smtClean="0"/>
              <a:t>).</a:t>
            </a:r>
          </a:p>
        </p:txBody>
      </p:sp>
    </p:spTree>
    <p:extLst>
      <p:ext uri="{BB962C8B-B14F-4D97-AF65-F5344CB8AC3E}">
        <p14:creationId xmlns:p14="http://schemas.microsoft.com/office/powerpoint/2010/main" val="3273470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9115" y="327005"/>
            <a:ext cx="10161346" cy="799342"/>
          </a:xfrm>
        </p:spPr>
        <p:txBody>
          <a:bodyPr/>
          <a:lstStyle/>
          <a:p>
            <a:pPr algn="ctr"/>
            <a:r>
              <a:rPr lang="de-DE" sz="3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NG – </a:t>
            </a:r>
            <a:r>
              <a:rPr lang="de-DE" sz="3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mera</a:t>
            </a:r>
            <a:r>
              <a:rPr lang="de-DE" sz="3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3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st</a:t>
            </a:r>
            <a:r>
              <a:rPr lang="de-DE" sz="3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3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tup</a:t>
            </a:r>
            <a:r>
              <a:rPr lang="de-DE" sz="3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de-DE" sz="3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de-DE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de-DE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pectroscopic</a:t>
            </a:r>
            <a:r>
              <a:rPr lang="de-DE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asurement</a:t>
            </a:r>
            <a:r>
              <a:rPr lang="de-DE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ith</a:t>
            </a:r>
            <a:r>
              <a:rPr lang="de-DE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e-55)</a:t>
            </a:r>
            <a:endParaRPr lang="en-GB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Thomas Selle| </a:t>
            </a:r>
            <a:r>
              <a:rPr lang="de-DE" dirty="0" err="1" smtClean="0"/>
              <a:t>Ringberg</a:t>
            </a:r>
            <a:r>
              <a:rPr lang="de-DE" dirty="0" smtClean="0"/>
              <a:t> 2022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5</a:t>
            </a:fld>
            <a:endParaRPr lang="de-DE" dirty="0"/>
          </a:p>
        </p:txBody>
      </p:sp>
      <p:sp>
        <p:nvSpPr>
          <p:cNvPr id="10" name="Textfeld 9"/>
          <p:cNvSpPr txBox="1"/>
          <p:nvPr/>
        </p:nvSpPr>
        <p:spPr>
          <a:xfrm>
            <a:off x="339114" y="1341059"/>
            <a:ext cx="11450549" cy="74379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LAMP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ed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 FE-55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ourc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The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llumination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in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is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tup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was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niformly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</a:p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caus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iz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TNG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nCCD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s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early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same like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LAMP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tup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n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used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7635" y="3048000"/>
            <a:ext cx="3931237" cy="2948428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9819" y="3048000"/>
            <a:ext cx="4097815" cy="2948428"/>
          </a:xfrm>
          <a:prstGeom prst="rect">
            <a:avLst/>
          </a:prstGeom>
        </p:spPr>
      </p:pic>
      <p:sp>
        <p:nvSpPr>
          <p:cNvPr id="12" name="Rechteck 11"/>
          <p:cNvSpPr/>
          <p:nvPr/>
        </p:nvSpPr>
        <p:spPr>
          <a:xfrm>
            <a:off x="3048000" y="4415054"/>
            <a:ext cx="483402" cy="262996"/>
          </a:xfrm>
          <a:prstGeom prst="rect">
            <a:avLst/>
          </a:prstGeom>
          <a:noFill/>
          <a:ln w="31750" cmpd="sng">
            <a:solidFill>
              <a:srgbClr val="FF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GB" sz="1300" b="1" dirty="0" smtClean="0">
              <a:solidFill>
                <a:schemeClr val="bg1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7929585" y="3873574"/>
            <a:ext cx="458511" cy="262996"/>
          </a:xfrm>
          <a:prstGeom prst="rect">
            <a:avLst/>
          </a:prstGeom>
          <a:noFill/>
          <a:ln w="31750" cmpd="sng">
            <a:solidFill>
              <a:srgbClr val="FF0000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GB" sz="13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6602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9115" y="327005"/>
            <a:ext cx="10161346" cy="799342"/>
          </a:xfrm>
        </p:spPr>
        <p:txBody>
          <a:bodyPr/>
          <a:lstStyle/>
          <a:p>
            <a:pPr algn="ctr"/>
            <a:r>
              <a:rPr lang="de-DE" sz="3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NG – </a:t>
            </a:r>
            <a:r>
              <a:rPr lang="de-DE" sz="3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mera</a:t>
            </a:r>
            <a:r>
              <a:rPr lang="de-DE" sz="3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3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st</a:t>
            </a:r>
            <a:r>
              <a:rPr lang="de-DE" sz="3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3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tup</a:t>
            </a:r>
            <a:r>
              <a:rPr lang="de-DE" sz="3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de-DE" sz="3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de-DE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de-DE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ynamic </a:t>
            </a:r>
            <a:r>
              <a:rPr lang="de-DE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nge</a:t>
            </a:r>
            <a:r>
              <a:rPr lang="de-DE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20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asurements</a:t>
            </a:r>
            <a:r>
              <a:rPr lang="de-DE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r>
              <a:rPr lang="de-DE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de-DE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endParaRPr lang="en-GB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Thomas Selle| </a:t>
            </a:r>
            <a:r>
              <a:rPr lang="de-DE" dirty="0" err="1" smtClean="0"/>
              <a:t>Ringberg</a:t>
            </a:r>
            <a:r>
              <a:rPr lang="de-DE" dirty="0" smtClean="0"/>
              <a:t> 2022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6</a:t>
            </a:fld>
            <a:endParaRPr lang="de-DE" dirty="0"/>
          </a:p>
        </p:txBody>
      </p:sp>
      <p:sp>
        <p:nvSpPr>
          <p:cNvPr id="10" name="Textfeld 9"/>
          <p:cNvSpPr txBox="1"/>
          <p:nvPr/>
        </p:nvSpPr>
        <p:spPr>
          <a:xfrm>
            <a:off x="424457" y="1247606"/>
            <a:ext cx="11450549" cy="268022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xperiment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ike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xymus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as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 high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uminanc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will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duc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ot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lectrical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arg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in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n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ixel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285750" indent="-285750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§"/>
            </a:pP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d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not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yet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xperimentally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asured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ow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ig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ull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ll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pacity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s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285750" indent="-285750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§"/>
            </a:pP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nly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inearity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asuremts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r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n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but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ithout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uminanc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aching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ull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ll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pacity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285750" indent="-285750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§"/>
            </a:pP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caus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duced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arg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will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ven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igher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an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ull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ll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pacity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ant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find out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haviour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nsor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285750" indent="-285750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§"/>
            </a:pP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EDET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ready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ulsed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ser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od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This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uld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ed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ur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asurements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ith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ome</a:t>
            </a:r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djustments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ur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tup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7175" y="3916884"/>
            <a:ext cx="3451465" cy="2716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256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SSZEILE" val="Generalverwaltung 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heme/theme1.xml><?xml version="1.0" encoding="utf-8"?>
<a:theme xmlns:a="http://schemas.openxmlformats.org/drawingml/2006/main" name="Office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uer_Master_MPG_11022020.potx" id="{E5752118-EE05-4E4F-A145-59D6BA7FA0D0}" vid="{2E164B52-9EEA-4743-A142-5BC79C92C89C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</TotalTime>
  <Words>368</Words>
  <Application>Microsoft Office PowerPoint</Application>
  <PresentationFormat>Widescreen</PresentationFormat>
  <Paragraphs>34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.SF NS Symbols Regular</vt:lpstr>
      <vt:lpstr>Arial</vt:lpstr>
      <vt:lpstr>Calibri</vt:lpstr>
      <vt:lpstr>Symbol</vt:lpstr>
      <vt:lpstr>Tahoma</vt:lpstr>
      <vt:lpstr>Wingdings</vt:lpstr>
      <vt:lpstr>Wingdings 3</vt:lpstr>
      <vt:lpstr>Office</vt:lpstr>
      <vt:lpstr>think-cell Folie</vt:lpstr>
      <vt:lpstr>TNG – Camera test setup</vt:lpstr>
      <vt:lpstr>TNG – Camera test setup (vacuum chamber – use the LAMP chamber)</vt:lpstr>
      <vt:lpstr>TNG – Camera test setup (Analysis of outgasing load if possible)</vt:lpstr>
      <vt:lpstr>TNG – Camera test setup (Cooled down test)</vt:lpstr>
      <vt:lpstr>TNG – Camera test setup (Spectroscopic measurement with Fe-55)</vt:lpstr>
      <vt:lpstr>TNG – Camera test setup (Dynamic range measurements) </vt:lpstr>
    </vt:vector>
  </TitlesOfParts>
  <Company>Max-Planck-Gesellscha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Thomas Selle</dc:creator>
  <cp:lastModifiedBy>Alexander Bähr</cp:lastModifiedBy>
  <cp:revision>410</cp:revision>
  <dcterms:created xsi:type="dcterms:W3CDTF">2020-02-11T08:20:15Z</dcterms:created>
  <dcterms:modified xsi:type="dcterms:W3CDTF">2022-12-15T08:34:22Z</dcterms:modified>
</cp:coreProperties>
</file>